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60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8" d="100"/>
          <a:sy n="78" d="100"/>
        </p:scale>
        <p:origin x="1594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AC0C03B-CD16-4695-9F1D-F2B8A6FE24D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2300" dirty="0"/>
              <a:t>Elimine las costosas paradas del equipo necesarias para la lubricación, al tiempo que mantiene la eficiencia</a:t>
            </a:r>
            <a:endParaRPr lang="es-ES" sz="23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Sistema de lubricación automática centralizada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e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Llenadoras asépticas (FM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SP002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Tiempos de mantenimiento reducidos: en promedio, 30 minutos por cada 1500 horas de producción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Elimine el riesgo ligado a la acumulación de grasa en las piezas móviles.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Mantenga la eficiencia del equipo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 sistema automático de lubricación elimina el riesgo asociado a la falta de lubricación de las piezas móviles de la llenadora y cumple plenamente las directrices de mejores prácticas de funcionamiento de Sidel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ste sistema se gestiona desde el PLC de la máquina y permite lubricar varios puntos con una periodicidad predeterminada según el tiempo de rotación del equipo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 caso de que se produzca una falla en el PLC, se podrá realizar una lubricación automática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4437112"/>
            <a:ext cx="2094345" cy="1245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eck 11">
            <a:extLst>
              <a:ext uri="{FF2B5EF4-FFF2-40B4-BE49-F238E27FC236}">
                <a16:creationId xmlns:a16="http://schemas.microsoft.com/office/drawing/2014/main" id="{774A5505-0758-4014-BE75-EEE75CE92EA5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558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59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Elimine las costosas paradas del equipo necesarias para la lubricación, al tiempo que mantiene la eficienci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7</cp:revision>
  <dcterms:created xsi:type="dcterms:W3CDTF">2014-07-21T08:52:21Z</dcterms:created>
  <dcterms:modified xsi:type="dcterms:W3CDTF">2019-08-19T12:2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23:31.8382274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